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8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9C-4CEA-B320-E74AF96775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557E0-97AF-1FA8-F5F6-F95865292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0D0922-299D-4E53-7316-1DF2A2FE0F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0D0922-299D-4E53-7316-1DF2A2FE0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4F49BD74-F5DC-3DA3-3CF0-AD00D9522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E9AEB35-72D7-F763-159E-E20DB217C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3398B74-3397-6B42-17E9-9D376E6CCB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84B4DFE-1B53-E9EF-602D-07CB276993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9106AB3C-5A15-79B1-8B2F-0BFD3E8F53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B8792A08-E0EB-5646-96F3-B096DE9FE465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69551BFF-957F-BAD7-340C-E05955B89AA6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86031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2</cp:revision>
  <dcterms:created xsi:type="dcterms:W3CDTF">2025-07-09T10:57:17Z</dcterms:created>
  <dcterms:modified xsi:type="dcterms:W3CDTF">2025-10-22T10:09:17Z</dcterms:modified>
  <cp:category/>
</cp:coreProperties>
</file>